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8" r:id="rId4"/>
    <p:sldMasterId id="2147483675" r:id="rId5"/>
  </p:sldMasterIdLst>
  <p:notesMasterIdLst>
    <p:notesMasterId r:id="rId11"/>
  </p:notesMasterIdLst>
  <p:handoutMasterIdLst>
    <p:handoutMasterId r:id="rId12"/>
  </p:handoutMasterIdLst>
  <p:sldIdLst>
    <p:sldId id="705" r:id="rId6"/>
    <p:sldId id="693" r:id="rId7"/>
    <p:sldId id="704" r:id="rId8"/>
    <p:sldId id="657" r:id="rId9"/>
    <p:sldId id="695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705"/>
            <p14:sldId id="693"/>
            <p14:sldId id="704"/>
            <p14:sldId id="657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59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60868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92178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6197987" y="2362398"/>
            <a:ext cx="5736838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oster for a college&#10;&#10;Description automatically generated">
            <a:extLst>
              <a:ext uri="{FF2B5EF4-FFF2-40B4-BE49-F238E27FC236}">
                <a16:creationId xmlns:a16="http://schemas.microsoft.com/office/drawing/2014/main" id="{A65DFA2B-E4DB-42AF-AFDE-F383652F9CA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9791"/>
            <a:ext cx="5994015" cy="599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81659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55774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8410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8243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1925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875755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859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8.xml"/><Relationship Id="rId9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0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1757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Light" pitchFamily="50" charset="0"/>
                <a:ea typeface="+mj-ea"/>
                <a:cs typeface="+mj-cs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6096000" y="2867308"/>
            <a:ext cx="5750859" cy="1123384"/>
          </a:xfrm>
        </p:spPr>
        <p:txBody>
          <a:bodyPr/>
          <a:lstStyle/>
          <a:p>
            <a:pPr algn="ctr"/>
            <a:r>
              <a:rPr lang="en-GB" sz="4000" dirty="0">
                <a:solidFill>
                  <a:srgbClr val="0070C0"/>
                </a:solidFill>
              </a:rPr>
              <a:t>Comparison operators in Pyth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EC94883-8D13-430C-8E2F-72E12BB3E331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omparison Operato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A4996F-C255-430F-A30C-47C7A044181D}"/>
              </a:ext>
            </a:extLst>
          </p:cNvPr>
          <p:cNvSpPr txBox="1"/>
          <p:nvPr/>
        </p:nvSpPr>
        <p:spPr>
          <a:xfrm>
            <a:off x="176981" y="2291435"/>
            <a:ext cx="11335407" cy="16970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e can compare two or more values by using comparison operators. These types of operators compare one value to another based on a condition. The result can either be </a:t>
            </a:r>
            <a:r>
              <a:rPr lang="en-US" sz="2400" b="0" i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rue</a:t>
            </a: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or </a:t>
            </a:r>
            <a:r>
              <a:rPr lang="en-US" sz="2400" b="0" i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alse</a:t>
            </a: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known as Boolean (bool). 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</p:txBody>
      </p:sp>
    </p:spTree>
    <p:extLst>
      <p:ext uri="{BB962C8B-B14F-4D97-AF65-F5344CB8AC3E}">
        <p14:creationId xmlns:p14="http://schemas.microsoft.com/office/powerpoint/2010/main" val="157082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388105"/>
            <a:ext cx="11593145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endParaRPr lang="en-US" sz="2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7BD246C-3AB2-4BFE-B4B7-6A6A5D63B0B9}"/>
              </a:ext>
            </a:extLst>
          </p:cNvPr>
          <p:cNvSpPr txBox="1"/>
          <p:nvPr/>
        </p:nvSpPr>
        <p:spPr>
          <a:xfrm>
            <a:off x="299427" y="1162698"/>
            <a:ext cx="11174818" cy="5131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The following are the most common comparison operators in python:</a:t>
            </a:r>
            <a:endParaRPr lang="en-US" sz="2400" b="1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double equal to </a:t>
            </a:r>
            <a:r>
              <a:rPr lang="en-US" sz="2400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= =</a:t>
            </a: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not equal to </a:t>
            </a:r>
            <a:r>
              <a:rPr lang="en-US" sz="2400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greater than 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less than 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greater than or equal to 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&gt;=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less than or equal to 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&lt;=</a:t>
            </a:r>
          </a:p>
        </p:txBody>
      </p:sp>
      <p:sp>
        <p:nvSpPr>
          <p:cNvPr id="11" name="Google Shape;62;p6">
            <a:extLst>
              <a:ext uri="{FF2B5EF4-FFF2-40B4-BE49-F238E27FC236}">
                <a16:creationId xmlns:a16="http://schemas.microsoft.com/office/drawing/2014/main" id="{285D66C0-BF2C-4902-84A9-43D7CA6B23B5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Comparison Operators</a:t>
            </a: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900" y="1017965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94</TotalTime>
  <Words>99</Words>
  <Application>Microsoft Office PowerPoint</Application>
  <PresentationFormat>Widescreen</PresentationFormat>
  <Paragraphs>14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Gotham Light</vt:lpstr>
      <vt:lpstr>Lato Light</vt:lpstr>
      <vt:lpstr>Wingdings</vt:lpstr>
      <vt:lpstr>2_Office Theme</vt:lpstr>
      <vt:lpstr>3_Office Theme</vt:lpstr>
      <vt:lpstr>think-cell Slide</vt:lpstr>
      <vt:lpstr>Introduction to Programming in Python</vt:lpstr>
      <vt:lpstr>Comparison operators in Pyth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40</cp:revision>
  <dcterms:created xsi:type="dcterms:W3CDTF">2020-03-16T19:15:12Z</dcterms:created>
  <dcterms:modified xsi:type="dcterms:W3CDTF">2024-05-03T11:3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